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5329238" cy="3779838"/>
  <p:notesSz cx="7102475" cy="10234613"/>
  <p:custDataLst>
    <p:tags r:id="rId3"/>
  </p:custDataLst>
  <p:defaultTextStyle>
    <a:defPPr>
      <a:defRPr lang="de-DE"/>
    </a:defPPr>
    <a:lvl1pPr marL="0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157368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314736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472105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629473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786841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944209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101578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258946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2">
          <p15:clr>
            <a:srgbClr val="A4A3A4"/>
          </p15:clr>
        </p15:guide>
        <p15:guide id="2" pos="16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32F"/>
    <a:srgbClr val="0082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78" d="100"/>
          <a:sy n="178" d="100"/>
        </p:scale>
        <p:origin x="1836" y="144"/>
      </p:cViewPr>
      <p:guideLst>
        <p:guide orient="horz" pos="1192"/>
        <p:guide pos="167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9693" y="1174201"/>
            <a:ext cx="4529852" cy="81021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9388" y="2141911"/>
            <a:ext cx="3730467" cy="96595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57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14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472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629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78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944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101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258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3863697" y="151370"/>
            <a:ext cx="1199079" cy="3225111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66464" y="151370"/>
            <a:ext cx="3508415" cy="3225111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0973" y="2428896"/>
            <a:ext cx="4529852" cy="750719"/>
          </a:xfrm>
        </p:spPr>
        <p:txBody>
          <a:bodyPr anchor="t"/>
          <a:lstStyle>
            <a:lvl1pPr algn="l">
              <a:defRPr sz="14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0973" y="1602056"/>
            <a:ext cx="4529852" cy="826839"/>
          </a:xfrm>
        </p:spPr>
        <p:txBody>
          <a:bodyPr anchor="b"/>
          <a:lstStyle>
            <a:lvl1pPr marL="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 marL="15736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2pPr>
            <a:lvl3pPr marL="314736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3pPr>
            <a:lvl4pPr marL="472105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4pPr>
            <a:lvl5pPr marL="629473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5pPr>
            <a:lvl6pPr marL="786841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6pPr>
            <a:lvl7pPr marL="944209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7pPr>
            <a:lvl8pPr marL="1101578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8pPr>
            <a:lvl9pPr marL="1258946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66462" y="881962"/>
            <a:ext cx="2353746" cy="2494518"/>
          </a:xfrm>
        </p:spPr>
        <p:txBody>
          <a:bodyPr/>
          <a:lstStyle>
            <a:lvl1pPr>
              <a:defRPr sz="1000"/>
            </a:lvl1pPr>
            <a:lvl2pPr>
              <a:defRPr sz="800"/>
            </a:lvl2pPr>
            <a:lvl3pPr>
              <a:defRPr sz="7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709030" y="881962"/>
            <a:ext cx="2353746" cy="2494518"/>
          </a:xfrm>
        </p:spPr>
        <p:txBody>
          <a:bodyPr/>
          <a:lstStyle>
            <a:lvl1pPr>
              <a:defRPr sz="1000"/>
            </a:lvl1pPr>
            <a:lvl2pPr>
              <a:defRPr sz="800"/>
            </a:lvl2pPr>
            <a:lvl3pPr>
              <a:defRPr sz="7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6464" y="846091"/>
            <a:ext cx="2354672" cy="352609"/>
          </a:xfrm>
        </p:spPr>
        <p:txBody>
          <a:bodyPr anchor="b"/>
          <a:lstStyle>
            <a:lvl1pPr marL="0" indent="0">
              <a:buNone/>
              <a:defRPr sz="800" b="1"/>
            </a:lvl1pPr>
            <a:lvl2pPr marL="157368" indent="0">
              <a:buNone/>
              <a:defRPr sz="700" b="1"/>
            </a:lvl2pPr>
            <a:lvl3pPr marL="314736" indent="0">
              <a:buNone/>
              <a:defRPr sz="600" b="1"/>
            </a:lvl3pPr>
            <a:lvl4pPr marL="472105" indent="0">
              <a:buNone/>
              <a:defRPr sz="600" b="1"/>
            </a:lvl4pPr>
            <a:lvl5pPr marL="629473" indent="0">
              <a:buNone/>
              <a:defRPr sz="600" b="1"/>
            </a:lvl5pPr>
            <a:lvl6pPr marL="786841" indent="0">
              <a:buNone/>
              <a:defRPr sz="600" b="1"/>
            </a:lvl6pPr>
            <a:lvl7pPr marL="944209" indent="0">
              <a:buNone/>
              <a:defRPr sz="600" b="1"/>
            </a:lvl7pPr>
            <a:lvl8pPr marL="1101578" indent="0">
              <a:buNone/>
              <a:defRPr sz="600" b="1"/>
            </a:lvl8pPr>
            <a:lvl9pPr marL="1258946" indent="0">
              <a:buNone/>
              <a:defRPr sz="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66464" y="1198699"/>
            <a:ext cx="2354672" cy="2177782"/>
          </a:xfrm>
        </p:spPr>
        <p:txBody>
          <a:bodyPr/>
          <a:lstStyle>
            <a:lvl1pPr>
              <a:defRPr sz="800"/>
            </a:lvl1pPr>
            <a:lvl2pPr>
              <a:defRPr sz="7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2707181" y="846091"/>
            <a:ext cx="2355597" cy="352609"/>
          </a:xfrm>
        </p:spPr>
        <p:txBody>
          <a:bodyPr anchor="b"/>
          <a:lstStyle>
            <a:lvl1pPr marL="0" indent="0">
              <a:buNone/>
              <a:defRPr sz="800" b="1"/>
            </a:lvl1pPr>
            <a:lvl2pPr marL="157368" indent="0">
              <a:buNone/>
              <a:defRPr sz="700" b="1"/>
            </a:lvl2pPr>
            <a:lvl3pPr marL="314736" indent="0">
              <a:buNone/>
              <a:defRPr sz="600" b="1"/>
            </a:lvl3pPr>
            <a:lvl4pPr marL="472105" indent="0">
              <a:buNone/>
              <a:defRPr sz="600" b="1"/>
            </a:lvl4pPr>
            <a:lvl5pPr marL="629473" indent="0">
              <a:buNone/>
              <a:defRPr sz="600" b="1"/>
            </a:lvl5pPr>
            <a:lvl6pPr marL="786841" indent="0">
              <a:buNone/>
              <a:defRPr sz="600" b="1"/>
            </a:lvl6pPr>
            <a:lvl7pPr marL="944209" indent="0">
              <a:buNone/>
              <a:defRPr sz="600" b="1"/>
            </a:lvl7pPr>
            <a:lvl8pPr marL="1101578" indent="0">
              <a:buNone/>
              <a:defRPr sz="600" b="1"/>
            </a:lvl8pPr>
            <a:lvl9pPr marL="1258946" indent="0">
              <a:buNone/>
              <a:defRPr sz="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2707181" y="1198699"/>
            <a:ext cx="2355597" cy="2177782"/>
          </a:xfrm>
        </p:spPr>
        <p:txBody>
          <a:bodyPr/>
          <a:lstStyle>
            <a:lvl1pPr>
              <a:defRPr sz="800"/>
            </a:lvl1pPr>
            <a:lvl2pPr>
              <a:defRPr sz="7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6464" y="150494"/>
            <a:ext cx="1753283" cy="640473"/>
          </a:xfrm>
        </p:spPr>
        <p:txBody>
          <a:bodyPr anchor="b"/>
          <a:lstStyle>
            <a:lvl1pPr algn="l">
              <a:defRPr sz="7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83585" y="150494"/>
            <a:ext cx="2979191" cy="3225988"/>
          </a:xfrm>
        </p:spPr>
        <p:txBody>
          <a:bodyPr/>
          <a:lstStyle>
            <a:lvl1pPr>
              <a:defRPr sz="1100"/>
            </a:lvl1pPr>
            <a:lvl2pPr>
              <a:defRPr sz="10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6464" y="790968"/>
            <a:ext cx="1753283" cy="2585514"/>
          </a:xfrm>
        </p:spPr>
        <p:txBody>
          <a:bodyPr/>
          <a:lstStyle>
            <a:lvl1pPr marL="0" indent="0">
              <a:buNone/>
              <a:defRPr sz="500"/>
            </a:lvl1pPr>
            <a:lvl2pPr marL="157368" indent="0">
              <a:buNone/>
              <a:defRPr sz="400"/>
            </a:lvl2pPr>
            <a:lvl3pPr marL="314736" indent="0">
              <a:buNone/>
              <a:defRPr sz="300"/>
            </a:lvl3pPr>
            <a:lvl4pPr marL="472105" indent="0">
              <a:buNone/>
              <a:defRPr sz="300"/>
            </a:lvl4pPr>
            <a:lvl5pPr marL="629473" indent="0">
              <a:buNone/>
              <a:defRPr sz="300"/>
            </a:lvl5pPr>
            <a:lvl6pPr marL="786841" indent="0">
              <a:buNone/>
              <a:defRPr sz="300"/>
            </a:lvl6pPr>
            <a:lvl7pPr marL="944209" indent="0">
              <a:buNone/>
              <a:defRPr sz="300"/>
            </a:lvl7pPr>
            <a:lvl8pPr marL="1101578" indent="0">
              <a:buNone/>
              <a:defRPr sz="300"/>
            </a:lvl8pPr>
            <a:lvl9pPr marL="1258946" indent="0">
              <a:buNone/>
              <a:defRPr sz="3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4571" y="2645888"/>
            <a:ext cx="3197543" cy="312361"/>
          </a:xfrm>
        </p:spPr>
        <p:txBody>
          <a:bodyPr anchor="b"/>
          <a:lstStyle>
            <a:lvl1pPr algn="l">
              <a:defRPr sz="7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044571" y="337736"/>
            <a:ext cx="3197543" cy="2267903"/>
          </a:xfrm>
        </p:spPr>
        <p:txBody>
          <a:bodyPr/>
          <a:lstStyle>
            <a:lvl1pPr marL="0" indent="0">
              <a:buNone/>
              <a:defRPr sz="1100"/>
            </a:lvl1pPr>
            <a:lvl2pPr marL="157368" indent="0">
              <a:buNone/>
              <a:defRPr sz="1000"/>
            </a:lvl2pPr>
            <a:lvl3pPr marL="314736" indent="0">
              <a:buNone/>
              <a:defRPr sz="800"/>
            </a:lvl3pPr>
            <a:lvl4pPr marL="472105" indent="0">
              <a:buNone/>
              <a:defRPr sz="700"/>
            </a:lvl4pPr>
            <a:lvl5pPr marL="629473" indent="0">
              <a:buNone/>
              <a:defRPr sz="700"/>
            </a:lvl5pPr>
            <a:lvl6pPr marL="786841" indent="0">
              <a:buNone/>
              <a:defRPr sz="700"/>
            </a:lvl6pPr>
            <a:lvl7pPr marL="944209" indent="0">
              <a:buNone/>
              <a:defRPr sz="700"/>
            </a:lvl7pPr>
            <a:lvl8pPr marL="1101578" indent="0">
              <a:buNone/>
              <a:defRPr sz="700"/>
            </a:lvl8pPr>
            <a:lvl9pPr marL="1258946" indent="0">
              <a:buNone/>
              <a:defRPr sz="7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044571" y="2958249"/>
            <a:ext cx="3197543" cy="443605"/>
          </a:xfrm>
        </p:spPr>
        <p:txBody>
          <a:bodyPr/>
          <a:lstStyle>
            <a:lvl1pPr marL="0" indent="0">
              <a:buNone/>
              <a:defRPr sz="500"/>
            </a:lvl1pPr>
            <a:lvl2pPr marL="157368" indent="0">
              <a:buNone/>
              <a:defRPr sz="400"/>
            </a:lvl2pPr>
            <a:lvl3pPr marL="314736" indent="0">
              <a:buNone/>
              <a:defRPr sz="300"/>
            </a:lvl3pPr>
            <a:lvl4pPr marL="472105" indent="0">
              <a:buNone/>
              <a:defRPr sz="300"/>
            </a:lvl4pPr>
            <a:lvl5pPr marL="629473" indent="0">
              <a:buNone/>
              <a:defRPr sz="300"/>
            </a:lvl5pPr>
            <a:lvl6pPr marL="786841" indent="0">
              <a:buNone/>
              <a:defRPr sz="300"/>
            </a:lvl6pPr>
            <a:lvl7pPr marL="944209" indent="0">
              <a:buNone/>
              <a:defRPr sz="300"/>
            </a:lvl7pPr>
            <a:lvl8pPr marL="1101578" indent="0">
              <a:buNone/>
              <a:defRPr sz="300"/>
            </a:lvl8pPr>
            <a:lvl9pPr marL="1258946" indent="0">
              <a:buNone/>
              <a:defRPr sz="3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3130088"/>
              </p:ext>
            </p:extLst>
          </p:nvPr>
        </p:nvGraphicFramePr>
        <p:xfrm>
          <a:off x="2238" y="3473"/>
          <a:ext cx="2238" cy="34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38" y="3473"/>
                        <a:ext cx="2238" cy="34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F73AED5-50D2-4878-B013-5A642538F82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5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6462" y="151371"/>
            <a:ext cx="4796314" cy="629972"/>
          </a:xfrm>
          <a:prstGeom prst="rect">
            <a:avLst/>
          </a:prstGeom>
        </p:spPr>
        <p:txBody>
          <a:bodyPr vert="horz" lIns="31474" tIns="15737" rIns="31474" bIns="15737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6462" y="881962"/>
            <a:ext cx="4796314" cy="2494518"/>
          </a:xfrm>
          <a:prstGeom prst="rect">
            <a:avLst/>
          </a:prstGeom>
        </p:spPr>
        <p:txBody>
          <a:bodyPr vert="horz" lIns="31474" tIns="15737" rIns="31474" bIns="15737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66462" y="3503349"/>
            <a:ext cx="1243489" cy="201242"/>
          </a:xfrm>
          <a:prstGeom prst="rect">
            <a:avLst/>
          </a:prstGeom>
        </p:spPr>
        <p:txBody>
          <a:bodyPr vert="horz" lIns="31474" tIns="15737" rIns="31474" bIns="15737" rtlCol="0" anchor="ctr"/>
          <a:lstStyle>
            <a:lvl1pPr algn="l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20826" y="3503349"/>
            <a:ext cx="1687592" cy="201242"/>
          </a:xfrm>
          <a:prstGeom prst="rect">
            <a:avLst/>
          </a:prstGeom>
        </p:spPr>
        <p:txBody>
          <a:bodyPr vert="horz" lIns="31474" tIns="15737" rIns="31474" bIns="15737" rtlCol="0" anchor="ctr"/>
          <a:lstStyle>
            <a:lvl1pPr algn="ct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819287" y="3503349"/>
            <a:ext cx="1243489" cy="201242"/>
          </a:xfrm>
          <a:prstGeom prst="rect">
            <a:avLst/>
          </a:prstGeom>
        </p:spPr>
        <p:txBody>
          <a:bodyPr vert="horz" lIns="31474" tIns="15737" rIns="31474" bIns="15737" rtlCol="0" anchor="ctr"/>
          <a:lstStyle>
            <a:lvl1pPr algn="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314736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8026" indent="-118026" algn="l" defTabSz="314736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55723" indent="-98355" algn="l" defTabSz="314736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93421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550789" indent="-78684" algn="l" defTabSz="314736" rtl="0" eaLnBrk="1" latinLnBrk="0" hangingPunct="1">
        <a:spcBef>
          <a:spcPct val="20000"/>
        </a:spcBef>
        <a:buFont typeface="Arial" pitchFamily="34" charset="0"/>
        <a:buChar char="–"/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708157" indent="-78684" algn="l" defTabSz="314736" rtl="0" eaLnBrk="1" latinLnBrk="0" hangingPunct="1">
        <a:spcBef>
          <a:spcPct val="20000"/>
        </a:spcBef>
        <a:buFont typeface="Arial" pitchFamily="34" charset="0"/>
        <a:buChar char="»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865525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6pPr>
      <a:lvl7pPr marL="1022894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7pPr>
      <a:lvl8pPr marL="1180262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1337630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1pPr>
      <a:lvl2pPr marL="157368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2pPr>
      <a:lvl3pPr marL="314736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3pPr>
      <a:lvl4pPr marL="472105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4pPr>
      <a:lvl5pPr marL="629473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5pPr>
      <a:lvl6pPr marL="786841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6pPr>
      <a:lvl7pPr marL="944209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7pPr>
      <a:lvl8pPr marL="1101578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8pPr>
      <a:lvl9pPr marL="1258946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0789A4-A8FA-416E-94D2-BAC56947B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076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0478" y="216838"/>
            <a:ext cx="4796314" cy="62997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0478" y="947429"/>
            <a:ext cx="4796314" cy="2494518"/>
          </a:xfrm>
        </p:spPr>
        <p:txBody>
          <a:bodyPr/>
          <a:lstStyle/>
          <a:p>
            <a:endParaRPr lang="de-DE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4016" y="11170"/>
            <a:ext cx="5184899" cy="3750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FA05FDE-1D3A-44BB-B368-B4D09954CFA4}"/>
              </a:ext>
            </a:extLst>
          </p:cNvPr>
          <p:cNvSpPr txBox="1"/>
          <p:nvPr/>
        </p:nvSpPr>
        <p:spPr>
          <a:xfrm>
            <a:off x="180342" y="1697486"/>
            <a:ext cx="507656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800" b="1" dirty="0">
                <a:latin typeface="Arial" pitchFamily="34" charset="0"/>
                <a:cs typeface="Arial" pitchFamily="34" charset="0"/>
              </a:rPr>
              <a:t>Einen engagierten und motivierten Trainer für unseren Kleinfeldbereich (G-,F-,E-Jugend)</a:t>
            </a:r>
          </a:p>
          <a:p>
            <a:r>
              <a:rPr lang="de-DE" sz="800" b="1" dirty="0">
                <a:latin typeface="Arial" pitchFamily="34" charset="0"/>
                <a:cs typeface="Arial" pitchFamily="34" charset="0"/>
              </a:rPr>
              <a:t>zur Verstärkung unseres Trainerteam für die kommende Saison 2022/23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1144979-2F40-4D61-8003-EFF77FD2C704}"/>
              </a:ext>
            </a:extLst>
          </p:cNvPr>
          <p:cNvSpPr/>
          <p:nvPr/>
        </p:nvSpPr>
        <p:spPr>
          <a:xfrm>
            <a:off x="0" y="11170"/>
            <a:ext cx="5328915" cy="255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FEF58CC-D095-4E82-92FE-AC93364873FA}"/>
              </a:ext>
            </a:extLst>
          </p:cNvPr>
          <p:cNvSpPr/>
          <p:nvPr/>
        </p:nvSpPr>
        <p:spPr>
          <a:xfrm>
            <a:off x="323" y="3563000"/>
            <a:ext cx="5328915" cy="213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D4A4A65-B61A-47A7-9099-9DE860D0AF99}"/>
              </a:ext>
            </a:extLst>
          </p:cNvPr>
          <p:cNvSpPr txBox="1"/>
          <p:nvPr/>
        </p:nvSpPr>
        <p:spPr>
          <a:xfrm>
            <a:off x="167830" y="1997348"/>
            <a:ext cx="3000845" cy="169277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sz="800" dirty="0">
              <a:latin typeface="Arial" pitchFamily="34" charset="0"/>
              <a:cs typeface="Arial" pitchFamily="34" charset="0"/>
            </a:endParaRPr>
          </a:p>
          <a:p>
            <a:r>
              <a:rPr lang="de-DE" sz="800" b="1" dirty="0">
                <a:solidFill>
                  <a:srgbClr val="01632F"/>
                </a:solidFill>
                <a:latin typeface="Arial" pitchFamily="34" charset="0"/>
                <a:cs typeface="Arial" pitchFamily="34" charset="0"/>
              </a:rPr>
              <a:t>Das erwarten wi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C-Lizenz wünschenswert aber kein Mu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Engagement und Motivation die Mannschaft weiter zu entwickel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Erfahrung in diesem Altersbereic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5-10 Std. Zeit pro Woche</a:t>
            </a:r>
          </a:p>
          <a:p>
            <a:endParaRPr lang="de-DE" sz="800" b="1" dirty="0">
              <a:solidFill>
                <a:srgbClr val="01632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sz="800" b="1" dirty="0">
                <a:solidFill>
                  <a:srgbClr val="01632F"/>
                </a:solidFill>
                <a:latin typeface="Arial" pitchFamily="34" charset="0"/>
                <a:cs typeface="Arial" pitchFamily="34" charset="0"/>
              </a:rPr>
              <a:t>Das erwartet dich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Eine motivierte Mannschaf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Ein angenehmes und freundschaftliches Umfe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Unterstützung durch Co-Trainer und Elt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800" dirty="0">
                <a:latin typeface="Arial" pitchFamily="34" charset="0"/>
                <a:cs typeface="Arial" pitchFamily="34" charset="0"/>
              </a:rPr>
              <a:t>Gute Trainingsbedingungen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6Q4UHNmUukuAbJSqPn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</Words>
  <Application>Microsoft Office PowerPoint</Application>
  <PresentationFormat>Benutzerdefiniert</PresentationFormat>
  <Paragraphs>1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Calibri</vt:lpstr>
      <vt:lpstr>Larissa-Design</vt:lpstr>
      <vt:lpstr>think-cell Folie</vt:lpstr>
      <vt:lpstr>PowerPoint-Prä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z0009jzz</dc:creator>
  <cp:lastModifiedBy>Engelhardt, Holger (SI EA S R FIN)</cp:lastModifiedBy>
  <cp:revision>17</cp:revision>
  <cp:lastPrinted>2020-02-21T15:44:15Z</cp:lastPrinted>
  <dcterms:created xsi:type="dcterms:W3CDTF">2017-07-27T08:52:09Z</dcterms:created>
  <dcterms:modified xsi:type="dcterms:W3CDTF">2022-05-09T14:4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376395302</vt:i4>
  </property>
  <property fmtid="{D5CDD505-2E9C-101B-9397-08002B2CF9AE}" pid="3" name="_NewReviewCycle">
    <vt:lpwstr/>
  </property>
  <property fmtid="{D5CDD505-2E9C-101B-9397-08002B2CF9AE}" pid="4" name="_EmailSubject">
    <vt:lpwstr>Format Spielersuche</vt:lpwstr>
  </property>
  <property fmtid="{D5CDD505-2E9C-101B-9397-08002B2CF9AE}" pid="5" name="_AuthorEmail">
    <vt:lpwstr>holger.he.engelhardt@siemens.com</vt:lpwstr>
  </property>
  <property fmtid="{D5CDD505-2E9C-101B-9397-08002B2CF9AE}" pid="6" name="_AuthorEmailDisplayName">
    <vt:lpwstr>Engelhardt, Holger (SI DS S R FIN)</vt:lpwstr>
  </property>
  <property fmtid="{D5CDD505-2E9C-101B-9397-08002B2CF9AE}" pid="7" name="MSIP_Label_a59b6cd5-d141-4a33-8bf1-0ca04484304f_Enabled">
    <vt:lpwstr>true</vt:lpwstr>
  </property>
  <property fmtid="{D5CDD505-2E9C-101B-9397-08002B2CF9AE}" pid="8" name="MSIP_Label_a59b6cd5-d141-4a33-8bf1-0ca04484304f_SetDate">
    <vt:lpwstr>2022-05-09T14:45:10Z</vt:lpwstr>
  </property>
  <property fmtid="{D5CDD505-2E9C-101B-9397-08002B2CF9AE}" pid="9" name="MSIP_Label_a59b6cd5-d141-4a33-8bf1-0ca04484304f_Method">
    <vt:lpwstr>Standard</vt:lpwstr>
  </property>
  <property fmtid="{D5CDD505-2E9C-101B-9397-08002B2CF9AE}" pid="10" name="MSIP_Label_a59b6cd5-d141-4a33-8bf1-0ca04484304f_Name">
    <vt:lpwstr>restricted-default</vt:lpwstr>
  </property>
  <property fmtid="{D5CDD505-2E9C-101B-9397-08002B2CF9AE}" pid="11" name="MSIP_Label_a59b6cd5-d141-4a33-8bf1-0ca04484304f_SiteId">
    <vt:lpwstr>38ae3bcd-9579-4fd4-adda-b42e1495d55a</vt:lpwstr>
  </property>
  <property fmtid="{D5CDD505-2E9C-101B-9397-08002B2CF9AE}" pid="12" name="MSIP_Label_a59b6cd5-d141-4a33-8bf1-0ca04484304f_ActionId">
    <vt:lpwstr>08ebb231-92f1-45ce-8820-303d411fe8aa</vt:lpwstr>
  </property>
  <property fmtid="{D5CDD505-2E9C-101B-9397-08002B2CF9AE}" pid="13" name="MSIP_Label_a59b6cd5-d141-4a33-8bf1-0ca04484304f_ContentBits">
    <vt:lpwstr>0</vt:lpwstr>
  </property>
  <property fmtid="{D5CDD505-2E9C-101B-9397-08002B2CF9AE}" pid="14" name="Document_Confidentiality">
    <vt:lpwstr>Restricted</vt:lpwstr>
  </property>
</Properties>
</file>